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29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9" r:id="rId19"/>
    <p:sldId id="330" r:id="rId20"/>
    <p:sldId id="331" r:id="rId21"/>
    <p:sldId id="332" r:id="rId22"/>
    <p:sldId id="333" r:id="rId23"/>
    <p:sldId id="334" r:id="rId24"/>
    <p:sldId id="335" r:id="rId25"/>
    <p:sldId id="336" r:id="rId26"/>
    <p:sldId id="337" r:id="rId27"/>
    <p:sldId id="33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69D3"/>
    <a:srgbClr val="9A9EAA"/>
    <a:srgbClr val="E5D2C4"/>
    <a:srgbClr val="F1DCC7"/>
    <a:srgbClr val="F5E1C8"/>
    <a:srgbClr val="FCF1D1"/>
    <a:srgbClr val="FAF9DB"/>
    <a:srgbClr val="BFBFBF"/>
    <a:srgbClr val="DEE3EA"/>
    <a:srgbClr val="BEC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79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83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31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910141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Products Selection (Dealer &amp; Vehicle)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</a:t>
            </a:r>
            <a:r>
              <a:rPr lang="en-US" dirty="0"/>
              <a:t>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Vehicle Information and Pictur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4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Select Dealershi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chose the dealership of the car I would like to purchase / finance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continue the process later on in my next visit and so that I can get the dealer specific vehicle / finance product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</a:t>
            </a:r>
            <a:r>
              <a:rPr lang="en-US" sz="16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Customer should be allowed to filter BMW </a:t>
            </a:r>
            <a:r>
              <a:rPr lang="en-US" sz="1600" dirty="0" smtClean="0">
                <a:solidFill>
                  <a:srgbClr val="172B4D"/>
                </a:solidFill>
              </a:rPr>
              <a:t>Dealership </a:t>
            </a:r>
            <a:r>
              <a:rPr lang="en-US" sz="1600" dirty="0">
                <a:solidFill>
                  <a:srgbClr val="172B4D"/>
                </a:solidFill>
              </a:rPr>
              <a:t>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Most up to date </a:t>
            </a:r>
            <a:r>
              <a:rPr lang="en-US" sz="1600" dirty="0" smtClean="0">
                <a:solidFill>
                  <a:srgbClr val="172B4D"/>
                </a:solidFill>
              </a:rPr>
              <a:t>dealership information </a:t>
            </a:r>
            <a:r>
              <a:rPr lang="en-US" sz="1600" dirty="0">
                <a:solidFill>
                  <a:srgbClr val="172B4D"/>
                </a:solidFill>
              </a:rPr>
              <a:t>is available for customer to choose. 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selected Province / City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User selected dealer from drop down list predefined and filtered by city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Once the </a:t>
            </a:r>
            <a:r>
              <a:rPr lang="en-US" sz="1600" dirty="0" smtClean="0">
                <a:solidFill>
                  <a:srgbClr val="172B4D"/>
                </a:solidFill>
              </a:rPr>
              <a:t>dealership is selected the user can continue to select the vehicle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en-US" sz="1600" dirty="0" smtClean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51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272" y="1592428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15" y="342900"/>
            <a:ext cx="11224685" cy="701474"/>
          </a:xfrm>
        </p:spPr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4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8" name="Freeform 7"/>
          <p:cNvSpPr/>
          <p:nvPr/>
        </p:nvSpPr>
        <p:spPr>
          <a:xfrm>
            <a:off x="7541309" y="3293385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Province</a:t>
            </a:r>
            <a:r>
              <a:rPr lang="en-US" sz="1200" dirty="0"/>
              <a:t> </a:t>
            </a:r>
            <a:r>
              <a:rPr lang="en-US" sz="1200" dirty="0" smtClean="0"/>
              <a:t>/ </a:t>
            </a:r>
            <a:r>
              <a:rPr lang="en-US" sz="1200" kern="1200" dirty="0" smtClean="0"/>
              <a:t>City</a:t>
            </a:r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kern="1200" dirty="0" smtClean="0"/>
              <a:t>- Dealer</a:t>
            </a:r>
            <a:endParaRPr lang="en-US" sz="1200" kern="1200" dirty="0"/>
          </a:p>
        </p:txBody>
      </p:sp>
      <p:sp>
        <p:nvSpPr>
          <p:cNvPr id="11" name="Freeform 10"/>
          <p:cNvSpPr/>
          <p:nvPr/>
        </p:nvSpPr>
        <p:spPr>
          <a:xfrm>
            <a:off x="7532842" y="2863331"/>
            <a:ext cx="1272245" cy="430054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</a:t>
            </a:r>
            <a:endParaRPr lang="en-US" sz="1600" kern="1200" dirty="0"/>
          </a:p>
        </p:txBody>
      </p:sp>
      <p:sp>
        <p:nvSpPr>
          <p:cNvPr id="20" name="Rectangle 19"/>
          <p:cNvSpPr/>
          <p:nvPr/>
        </p:nvSpPr>
        <p:spPr>
          <a:xfrm>
            <a:off x="4757272" y="2430917"/>
            <a:ext cx="2579898" cy="9980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97426" y="1526796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23649" y="2488973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02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</a:t>
            </a:r>
            <a:r>
              <a:rPr lang="en-US" dirty="0" smtClean="0"/>
              <a:t>ID</a:t>
            </a:r>
            <a:r>
              <a:rPr lang="en-US" dirty="0"/>
              <a:t>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98978" y="1412874"/>
            <a:ext cx="5714656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4220" y="1412875"/>
            <a:ext cx="2819930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Oval 13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266890" y="2344738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5343089" y="2420937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181040" y="293052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257239" y="300672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8" name="Oval 37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791080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867279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308878" y="2389187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43030" y="2376486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917916" y="4866102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244921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</a:t>
            </a:r>
            <a:r>
              <a:rPr lang="en-US" dirty="0"/>
              <a:t>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27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45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5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uotation Price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adjust the MSRP to the agreed quotation price so that I can finance the quotation price 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&amp; </a:t>
            </a:r>
            <a:r>
              <a:rPr lang="en-US" sz="1600" dirty="0"/>
              <a:t>so that I can get a binding offer from the dealer</a:t>
            </a: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2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200" dirty="0" smtClean="0">
                <a:solidFill>
                  <a:srgbClr val="172B4D"/>
                </a:solidFill>
              </a:rPr>
              <a:t>Customer </a:t>
            </a:r>
            <a:r>
              <a:rPr lang="en-US" sz="12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200" dirty="0" smtClean="0">
              <a:solidFill>
                <a:srgbClr val="172B4D"/>
              </a:solidFill>
            </a:endParaRPr>
          </a:p>
          <a:p>
            <a:r>
              <a:rPr lang="en-US" sz="1200" dirty="0" smtClean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200" dirty="0" smtClean="0">
                <a:solidFill>
                  <a:srgbClr val="172B4D"/>
                </a:solidFill>
              </a:rPr>
              <a:t>Dependency with the binding offer management (DFE Review and Audit) EF-EP-005-ES-S 001, ES-S 002 &amp; ES-S 004</a:t>
            </a:r>
            <a:endParaRPr lang="en-US" sz="12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>
                <a:solidFill>
                  <a:srgbClr val="172B4D"/>
                </a:solidFill>
              </a:rPr>
              <a:t>Customer should be allowed to </a:t>
            </a:r>
            <a:r>
              <a:rPr lang="en-US" sz="1200" dirty="0" smtClean="0">
                <a:solidFill>
                  <a:srgbClr val="172B4D"/>
                </a:solidFill>
              </a:rPr>
              <a:t>enter Quotation price into the free box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rgbClr val="172B4D"/>
                </a:solidFill>
              </a:rPr>
              <a:t>The right dealership is selected by the user (EF-EP-004-ES-S 004 / ES-S 006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>
                <a:solidFill>
                  <a:srgbClr val="172B4D"/>
                </a:solidFill>
              </a:rPr>
              <a:t>The transaction price is already negotiated offline between user and sales manager</a:t>
            </a:r>
          </a:p>
          <a:p>
            <a:pPr marL="0" lv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enters the transaction price into the empty box Disclaimer is shown (vehicle availability and price is to be confirmed by dealer)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In the box only a reasonable amount can be entered. Once alphabetic, icons or an unreasonable amount </a:t>
            </a:r>
            <a:r>
              <a:rPr lang="en-US" sz="1200" dirty="0">
                <a:solidFill>
                  <a:srgbClr val="172B4D"/>
                </a:solidFill>
                <a:latin typeface="+mj-lt"/>
              </a:rPr>
              <a:t>is input </a:t>
            </a: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(to be defined: </a:t>
            </a:r>
            <a:r>
              <a:rPr lang="en-US" sz="1200" dirty="0" smtClean="0">
                <a:solidFill>
                  <a:srgbClr val="172B4D"/>
                </a:solidFill>
              </a:rPr>
              <a:t>e.g</a:t>
            </a:r>
            <a:r>
              <a:rPr lang="en-US" sz="1200" dirty="0">
                <a:solidFill>
                  <a:srgbClr val="172B4D"/>
                </a:solidFill>
              </a:rPr>
              <a:t>. </a:t>
            </a: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0, &gt;10% of MSRP) a pop up message should guide the user entering the right amount (including disclaimer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solidFill>
                  <a:srgbClr val="172B4D"/>
                </a:solidFill>
              </a:rPr>
              <a:t>User can only click submit if all criteria are met (e.g. Quotation price is entered correctly and Dealership / Vehicle is selected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solidFill>
                  <a:srgbClr val="172B4D"/>
                </a:solidFill>
              </a:rPr>
              <a:t>After submission of the quotation the customer cannot change the selections (dealer, vehicle &amp; quotation) and a pop up is reminding the user the quotation is in review by the F&amp;I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>
                <a:solidFill>
                  <a:srgbClr val="172B4D"/>
                </a:solidFill>
              </a:rPr>
              <a:t>If the customer clicks the back button, the dealer ship selection &amp; vehicle selection is shown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solidFill>
                  <a:srgbClr val="172B4D"/>
                </a:solidFill>
              </a:rPr>
              <a:t>If the customer clicks submit the user will be able to select the finance product, after this selection, the F&amp;I can review and audit the quotation</a:t>
            </a:r>
            <a:endParaRPr lang="en-US" sz="12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2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4587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4587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299607" y="3447143"/>
            <a:ext cx="3187135" cy="230832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What happens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if the quotation price is not confirmed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overwrites in DFE, confirms and the newly submitted transaction price is synchronize to the User. User cannot change the price submitted by the dealer.</a:t>
            </a:r>
            <a:endParaRPr lang="en-US" sz="1800" b="0" i="0" u="none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794127" y="2540725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isk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0268610" y="2540726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23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51" y="1412875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4814099" y="2138812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20" name="Rectangle 19"/>
          <p:cNvSpPr/>
          <p:nvPr/>
        </p:nvSpPr>
        <p:spPr>
          <a:xfrm>
            <a:off x="6891972" y="2425014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30328" y="2425014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23506" y="3924069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881734" y="3220351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840660" y="4008655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77316" y="4300306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57" name="Rectangle 56"/>
          <p:cNvSpPr/>
          <p:nvPr/>
        </p:nvSpPr>
        <p:spPr>
          <a:xfrm>
            <a:off x="4881734" y="4786491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358087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4: </a:t>
            </a:r>
            <a:r>
              <a:rPr lang="en-US" b="0" dirty="0"/>
              <a:t>Products Selection (Dealer &amp; Vehic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1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want </a:t>
            </a:r>
            <a:r>
              <a:rPr lang="en-US" dirty="0"/>
              <a:t>to select the </a:t>
            </a:r>
            <a:r>
              <a:rPr lang="en-US" dirty="0" smtClean="0"/>
              <a:t>vehicle so </a:t>
            </a:r>
            <a:r>
              <a:rPr lang="en-US" dirty="0"/>
              <a:t>that I can start the finance application proces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have the information of the vehicle displayed (pictures, options</a:t>
            </a:r>
            <a:r>
              <a:rPr lang="en-US" dirty="0" smtClean="0"/>
              <a:t>,...) 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XXX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o chose the dealership of the car I would like to purchase / </a:t>
            </a:r>
            <a:r>
              <a:rPr lang="en-US" dirty="0" smtClean="0"/>
              <a:t>finance so </a:t>
            </a:r>
            <a:r>
              <a:rPr lang="en-US" dirty="0"/>
              <a:t>that I can continue the process later on in my next </a:t>
            </a:r>
            <a:r>
              <a:rPr lang="en-US" dirty="0" smtClean="0"/>
              <a:t>visit and so </a:t>
            </a:r>
            <a:r>
              <a:rPr lang="en-US" dirty="0"/>
              <a:t>that I can get the dealer specific vehicle / finance </a:t>
            </a:r>
            <a:r>
              <a:rPr lang="en-US" dirty="0" smtClean="0"/>
              <a:t>product.</a:t>
            </a:r>
            <a:endParaRPr lang="en-US" dirty="0"/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adjust the MSRP to the agreed quotation </a:t>
            </a:r>
            <a:r>
              <a:rPr lang="en-US" dirty="0" smtClean="0"/>
              <a:t>price so </a:t>
            </a:r>
            <a:r>
              <a:rPr lang="en-US" dirty="0"/>
              <a:t>that I can finance the quotation </a:t>
            </a:r>
            <a:r>
              <a:rPr lang="en-US" dirty="0" smtClean="0"/>
              <a:t>price &amp; so </a:t>
            </a:r>
            <a:r>
              <a:rPr lang="en-US" dirty="0"/>
              <a:t>that I can get a binding offer from the </a:t>
            </a:r>
            <a:r>
              <a:rPr lang="en-US" dirty="0" smtClean="0"/>
              <a:t>dealer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6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he Dealer automatically </a:t>
            </a:r>
            <a:r>
              <a:rPr lang="en-US" dirty="0" smtClean="0"/>
              <a:t>pre-filled</a:t>
            </a:r>
            <a:r>
              <a:rPr lang="en-US" dirty="0"/>
              <a:t> </a:t>
            </a:r>
            <a:r>
              <a:rPr lang="en-US" dirty="0" smtClean="0"/>
              <a:t>so </a:t>
            </a:r>
            <a:r>
              <a:rPr lang="en-US" dirty="0"/>
              <a:t>that I don't have to search for the specific dealer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2550961" y="1526795"/>
            <a:ext cx="9672822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00" y="1827407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235980" y="2443191"/>
            <a:ext cx="2184052" cy="1514364"/>
          </a:xfrm>
          <a:prstGeom prst="rect">
            <a:avLst/>
          </a:prstGeom>
          <a:ln>
            <a:noFill/>
          </a:ln>
        </p:spPr>
      </p:pic>
      <p:sp>
        <p:nvSpPr>
          <p:cNvPr id="21" name="Rectangle 20"/>
          <p:cNvSpPr/>
          <p:nvPr/>
        </p:nvSpPr>
        <p:spPr>
          <a:xfrm>
            <a:off x="2012388" y="2685965"/>
            <a:ext cx="422309" cy="4201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49855" y="2685965"/>
            <a:ext cx="422309" cy="35550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4023" y="3957556"/>
            <a:ext cx="2176010" cy="11509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93803" y="3360619"/>
            <a:ext cx="2089952" cy="3220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8688" y="4029307"/>
            <a:ext cx="2089952" cy="3220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1009" y="4276703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27" name="Oval 26"/>
          <p:cNvSpPr/>
          <p:nvPr/>
        </p:nvSpPr>
        <p:spPr>
          <a:xfrm>
            <a:off x="1542571" y="418667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1607714" y="425131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1176131" y="510698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1241275" y="517162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26" name="19C8329D-8067-44C8-A008-4ECECB47C3A5" descr="19C8329D-8067-44C8-A008-4ECECB47C3A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61"/>
          <a:stretch/>
        </p:blipFill>
        <p:spPr bwMode="auto">
          <a:xfrm>
            <a:off x="41090" y="7012462"/>
            <a:ext cx="2384576" cy="129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-2248360" y="1827407"/>
            <a:ext cx="2260049" cy="3892483"/>
            <a:chOff x="-2491673" y="1827407"/>
            <a:chExt cx="2617998" cy="4588778"/>
          </a:xfrm>
        </p:grpSpPr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491673" y="1827407"/>
              <a:ext cx="2579898" cy="458877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53" name="Oval 52"/>
            <p:cNvSpPr/>
            <p:nvPr/>
          </p:nvSpPr>
          <p:spPr>
            <a:xfrm>
              <a:off x="-474618" y="42111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-398419" y="42873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-1560087" y="48969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-1483888" y="49731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-378500" y="48969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-302301" y="49731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-1383876" y="5710766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-1307677" y="5786965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-2491673" y="4134947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-2415474" y="4211146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-2415474" y="2671270"/>
              <a:ext cx="914400" cy="29776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315697" y="4635486"/>
            <a:ext cx="2032943" cy="40686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281" y="1827407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6"/>
          <a:srcRect t="20650" b="12051"/>
          <a:stretch/>
        </p:blipFill>
        <p:spPr>
          <a:xfrm>
            <a:off x="2769281" y="2498762"/>
            <a:ext cx="2205596" cy="2625753"/>
          </a:xfrm>
          <a:prstGeom prst="rect">
            <a:avLst/>
          </a:prstGeom>
        </p:spPr>
      </p:pic>
      <p:sp>
        <p:nvSpPr>
          <p:cNvPr id="70" name="Oval 69"/>
          <p:cNvSpPr/>
          <p:nvPr/>
        </p:nvSpPr>
        <p:spPr>
          <a:xfrm>
            <a:off x="4539203" y="267828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4604346" y="274292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3466811" y="3543750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3531954" y="3608387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4" name="Oval 73"/>
          <p:cNvSpPr/>
          <p:nvPr/>
        </p:nvSpPr>
        <p:spPr>
          <a:xfrm>
            <a:off x="4108016" y="421626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5" name="Oval 74"/>
          <p:cNvSpPr/>
          <p:nvPr/>
        </p:nvSpPr>
        <p:spPr>
          <a:xfrm>
            <a:off x="4173159" y="428090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Oval 75"/>
          <p:cNvSpPr/>
          <p:nvPr/>
        </p:nvSpPr>
        <p:spPr>
          <a:xfrm>
            <a:off x="3674806" y="5109695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Oval 76"/>
          <p:cNvSpPr/>
          <p:nvPr/>
        </p:nvSpPr>
        <p:spPr>
          <a:xfrm>
            <a:off x="3739949" y="5174332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600" y="1827407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3088" y="1827407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3" name="Oval 82"/>
          <p:cNvSpPr/>
          <p:nvPr/>
        </p:nvSpPr>
        <p:spPr>
          <a:xfrm>
            <a:off x="6163151" y="508713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6228294" y="515176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28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488948" y="2038778"/>
            <a:ext cx="1114097" cy="387366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Price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Confirmation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625905" y="293051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2335045" y="2114279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Main Applicant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625905" y="5321761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2357905" y="4731075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F&amp;I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357905" y="3422677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Co-Borrower /Guarantor</a:t>
            </a:r>
          </a:p>
        </p:txBody>
      </p:sp>
    </p:spTree>
    <p:extLst>
      <p:ext uri="{BB962C8B-B14F-4D97-AF65-F5344CB8AC3E}">
        <p14:creationId xmlns:p14="http://schemas.microsoft.com/office/powerpoint/2010/main" val="1494057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89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351039"/>
            <a:ext cx="11224685" cy="701474"/>
          </a:xfrm>
        </p:spPr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6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smtClean="0"/>
              <a:t>LBS Dealership sel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 want the Dealer automatically pre-filled so that I don't have to search for the specific dealer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</a:t>
            </a:r>
            <a:r>
              <a:rPr lang="en-US" sz="16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accepted location based services and GPS is usable and activated 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clicks on the on the LBS icon, city and dealer are prefilled based on the GPS locati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can overwrite the prefilled information by clicking and selecting from the dropdown list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41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0" name="Freeform 19"/>
          <p:cNvSpPr/>
          <p:nvPr/>
        </p:nvSpPr>
        <p:spPr>
          <a:xfrm>
            <a:off x="7399721" y="2356481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200" kern="1200" dirty="0"/>
          </a:p>
        </p:txBody>
      </p:sp>
      <p:sp>
        <p:nvSpPr>
          <p:cNvPr id="21" name="Freeform 20"/>
          <p:cNvSpPr/>
          <p:nvPr/>
        </p:nvSpPr>
        <p:spPr>
          <a:xfrm>
            <a:off x="7427265" y="1949185"/>
            <a:ext cx="2386570" cy="1232166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 by location based service. Prefill of: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- Province / City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600" dirty="0"/>
              <a:t>- </a:t>
            </a:r>
            <a:r>
              <a:rPr lang="en-US" altLang="zh-CN" sz="1600" dirty="0" smtClean="0"/>
              <a:t>Dealer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51" y="1610184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4806051" y="2448673"/>
            <a:ext cx="2579898" cy="100971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11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98978" y="1412874"/>
            <a:ext cx="5714656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4220" y="1412875"/>
            <a:ext cx="2819930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Oval 12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266681" y="23018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3342880" y="23780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33" name="Rectangle 32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9" name="Oval 38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791080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9867279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897380" y="4875898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213846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98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23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P-004-</a:t>
            </a:r>
            <a:r>
              <a:rPr lang="en-US" dirty="0" smtClean="0"/>
              <a:t>S 001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vehicle so that I can start the finance application proces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 dealership is already selected </a:t>
            </a:r>
            <a:r>
              <a:rPr lang="en-US" sz="1400" dirty="0" smtClean="0">
                <a:solidFill>
                  <a:srgbClr val="172B4D"/>
                </a:solidFill>
              </a:rPr>
              <a:t>(EPIC 4 - S </a:t>
            </a:r>
            <a:r>
              <a:rPr lang="en-US" sz="1400" dirty="0">
                <a:solidFill>
                  <a:srgbClr val="172B4D"/>
                </a:solidFill>
              </a:rPr>
              <a:t>004 </a:t>
            </a:r>
            <a:r>
              <a:rPr lang="en-US" sz="1400" dirty="0" smtClean="0">
                <a:solidFill>
                  <a:srgbClr val="172B4D"/>
                </a:solidFill>
              </a:rPr>
              <a:t>&amp; S </a:t>
            </a:r>
            <a:r>
              <a:rPr lang="en-US" sz="1400" dirty="0">
                <a:solidFill>
                  <a:srgbClr val="172B4D"/>
                </a:solidFill>
              </a:rPr>
              <a:t>006)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</a:t>
            </a: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 transaction price is already negotiated offline between user and sales manager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400" dirty="0" smtClean="0">
              <a:solidFill>
                <a:srgbClr val="172B4D"/>
              </a:solidFill>
            </a:endParaRP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Pre-Conditions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 Customer should be allowed to </a:t>
            </a:r>
            <a:r>
              <a:rPr lang="en-US" sz="1400" dirty="0" smtClean="0">
                <a:solidFill>
                  <a:srgbClr val="172B4D"/>
                </a:solidFill>
              </a:rPr>
              <a:t>filter </a:t>
            </a:r>
            <a:r>
              <a:rPr lang="en-US" sz="1400" dirty="0">
                <a:solidFill>
                  <a:srgbClr val="172B4D"/>
                </a:solidFill>
              </a:rPr>
              <a:t>BMW Vehicle 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 Most up to date </a:t>
            </a:r>
            <a:r>
              <a:rPr lang="en-US" sz="1400" dirty="0" smtClean="0">
                <a:solidFill>
                  <a:srgbClr val="172B4D"/>
                </a:solidFill>
              </a:rPr>
              <a:t>and correct vehicle product </a:t>
            </a:r>
            <a:r>
              <a:rPr lang="en-US" sz="1400" dirty="0">
                <a:solidFill>
                  <a:srgbClr val="172B4D"/>
                </a:solidFill>
              </a:rPr>
              <a:t>information is available for customer to choose. </a:t>
            </a: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The user selected the Brand BMW / MINI.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user selected </a:t>
            </a: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vehicle series by </a:t>
            </a:r>
            <a:r>
              <a:rPr lang="en-US" sz="1400" dirty="0">
                <a:solidFill>
                  <a:srgbClr val="172B4D"/>
                </a:solidFill>
              </a:rPr>
              <a:t>clicking / </a:t>
            </a:r>
            <a:r>
              <a:rPr lang="en-US" sz="1400" dirty="0" smtClean="0">
                <a:solidFill>
                  <a:srgbClr val="172B4D"/>
                </a:solidFill>
              </a:rPr>
              <a:t>swiping. A picture of the respective series is displayed.</a:t>
            </a:r>
            <a:endParaRPr lang="en-US" sz="14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user </a:t>
            </a:r>
            <a:r>
              <a:rPr lang="en-US" sz="1400" dirty="0" smtClean="0">
                <a:solidFill>
                  <a:srgbClr val="172B4D"/>
                </a:solidFill>
              </a:rPr>
              <a:t>selected </a:t>
            </a: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vehicle model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 </a:t>
            </a:r>
            <a:r>
              <a:rPr lang="en-US" sz="1400" dirty="0">
                <a:solidFill>
                  <a:srgbClr val="172B4D"/>
                </a:solidFill>
              </a:rPr>
              <a:t>The user selected the vehicle </a:t>
            </a:r>
            <a:r>
              <a:rPr lang="en-US" sz="1400" dirty="0" smtClean="0">
                <a:solidFill>
                  <a:srgbClr val="172B4D"/>
                </a:solidFill>
              </a:rPr>
              <a:t>package (drop </a:t>
            </a:r>
            <a:r>
              <a:rPr lang="en-US" sz="1400" dirty="0">
                <a:solidFill>
                  <a:srgbClr val="172B4D"/>
                </a:solidFill>
              </a:rPr>
              <a:t>down</a:t>
            </a:r>
            <a:r>
              <a:rPr lang="en-US" sz="1400" dirty="0" smtClean="0">
                <a:solidFill>
                  <a:srgbClr val="172B4D"/>
                </a:solidFill>
              </a:rPr>
              <a:t>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MSRP of the selected vehicle series, model &amp; package is displayed correctly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As a </a:t>
            </a:r>
            <a:r>
              <a:rPr lang="en-US" sz="1400" dirty="0">
                <a:solidFill>
                  <a:srgbClr val="172B4D"/>
                </a:solidFill>
              </a:rPr>
              <a:t>user I get a disclaimer displayed that this is not the actual vehicle and it might be not available, the purpose of the vehicle choosing is to start the application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Once the car is selected the user can click next and enters </a:t>
            </a:r>
            <a:r>
              <a:rPr lang="en-US" sz="1400" dirty="0" smtClean="0">
                <a:solidFill>
                  <a:srgbClr val="172B4D"/>
                </a:solidFill>
              </a:rPr>
              <a:t>“transaction price confirmation price page” </a:t>
            </a:r>
            <a:r>
              <a:rPr lang="en-US" sz="140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PIC 4 </a:t>
            </a:r>
            <a:r>
              <a:rPr lang="en-US" sz="1400" dirty="0" smtClean="0"/>
              <a:t>-S </a:t>
            </a:r>
            <a:r>
              <a:rPr lang="en-US" sz="1400" dirty="0"/>
              <a:t>005 </a:t>
            </a:r>
            <a:endParaRPr lang="en-US" sz="1400" dirty="0" smtClean="0"/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</a:t>
            </a:r>
            <a:r>
              <a:rPr lang="en-US" sz="1400" dirty="0">
                <a:solidFill>
                  <a:srgbClr val="172B4D"/>
                </a:solidFill>
              </a:rPr>
              <a:t>user can click back button and enters landing </a:t>
            </a:r>
            <a:r>
              <a:rPr lang="en-US" sz="1400" dirty="0" smtClean="0">
                <a:solidFill>
                  <a:srgbClr val="172B4D"/>
                </a:solidFill>
              </a:rPr>
              <a:t>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1</a:t>
            </a:r>
            <a:br>
              <a:rPr lang="en-US" dirty="0" smtClean="0"/>
            </a:br>
            <a:r>
              <a:rPr lang="en-US" dirty="0" smtClean="0"/>
              <a:t>Vehicle Sel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45" name="Content Placeholder 2"/>
          <p:cNvSpPr txBox="1">
            <a:spLocks/>
          </p:cNvSpPr>
          <p:nvPr/>
        </p:nvSpPr>
        <p:spPr>
          <a:xfrm>
            <a:off x="6330644" y="2773114"/>
            <a:ext cx="2298052" cy="104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selection for customer should be easy, only include series, model, package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picture to show with series selec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Languages in Chinese and English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BMW and MINI CI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984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697426" y="1526796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ie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endParaRPr lang="en-US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ckag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8761028" y="1412874"/>
            <a:ext cx="2952605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4219" y="1412875"/>
            <a:ext cx="5639815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Oval 12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266890" y="2344738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343089" y="2420937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181040" y="293052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57239" y="300672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37" name="Rectangle 36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3" name="Oval 42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8917916" y="4862482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87366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Selection 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3150252" y="2247629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Main Applica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173112" y="4864425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F&amp;I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173112" y="3556027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Co-Borrower /Guarantor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585845" y="2247629"/>
            <a:ext cx="1114097" cy="379816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2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Vehicle Information an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have the information of the vehicle displayed (pictures, options</a:t>
            </a:r>
            <a:r>
              <a:rPr lang="en-US" dirty="0" smtClean="0"/>
              <a:t>,...)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dealership is already selected (EPIC 4 - S 004 &amp; S 006)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transaction price is already negotiated offline between user and sales manager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should be allowed to filter BMW Vehicle 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Most up to date and correct vehicle product information is available for customer to choose. 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selected the vehicle series by clicking / swiping. A picture of the respective series is displayed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Options of the vehicle can be selected the correct information, prices &amp; pictures are displayed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2796" t="5352" r="2385" b="81591"/>
          <a:stretch/>
        </p:blipFill>
        <p:spPr>
          <a:xfrm>
            <a:off x="4744946" y="2344795"/>
            <a:ext cx="2702108" cy="7711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873" t="50526" r="2375" b="3263"/>
          <a:stretch/>
        </p:blipFill>
        <p:spPr>
          <a:xfrm>
            <a:off x="4744946" y="3125874"/>
            <a:ext cx="2702108" cy="2295846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4794261" y="4441891"/>
            <a:ext cx="57740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d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18984" y="4458493"/>
            <a:ext cx="720325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ckag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59288" y="3242410"/>
            <a:ext cx="1473423" cy="102667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468108" y="1052513"/>
            <a:ext cx="2946400" cy="1373996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icture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ptions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SP Products?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9900" y="1526794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724</Words>
  <Application>Microsoft Office PowerPoint</Application>
  <PresentationFormat>Widescreen</PresentationFormat>
  <Paragraphs>270</Paragraphs>
  <Slides>2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F-EP-004: Products Selection (Dealer &amp; Vehicle)</vt:lpstr>
      <vt:lpstr>Story ID: EP-004-S 001: </vt:lpstr>
      <vt:lpstr>Story ID: EF-EP-004-ES-S 001 Vehicle Selection </vt:lpstr>
      <vt:lpstr>Story ID: EF-EP-004-ES-S 001 Vehicle Selection</vt:lpstr>
      <vt:lpstr>Story ID: EF-EP-004-ES-S 001 Vehicle Selection</vt:lpstr>
      <vt:lpstr>Story ID: EF-EP-004-ES-S 001 Vehicle Selection</vt:lpstr>
      <vt:lpstr>Story ID: EF-EP-004-ES-S 002: Vehicle Information and Picture</vt:lpstr>
      <vt:lpstr>Story ID: EF-EP-004-ES-S 002 Vehicle Information and Picture</vt:lpstr>
      <vt:lpstr>Story ID: EF-EP-004-ES-S 002 Vehicle Information and Picture</vt:lpstr>
      <vt:lpstr>Story ID: EF-EP-004-ES-S 002 Vehicle Information and Picture</vt:lpstr>
      <vt:lpstr>Story ID: EF-EP-004-ES-S 002 Vehicle Information and Picture </vt:lpstr>
      <vt:lpstr>Story ID: EF-EP-004-ES-S 004: Select Dealership</vt:lpstr>
      <vt:lpstr>Story ID: EF-EP-004-ES-S 004 Select Dealership</vt:lpstr>
      <vt:lpstr>Story ID: EF-EP-004-ES-S 004 Select Dealership</vt:lpstr>
      <vt:lpstr>Story ID: EF-EP-004-ES-S 004 Select Dealership</vt:lpstr>
      <vt:lpstr>Story ID: EF-EP-004-ES-S 004 Select Dealership </vt:lpstr>
      <vt:lpstr>Story ID: EF-EP-004-ES-S 005: Quotation Price  </vt:lpstr>
      <vt:lpstr>Story ID: EF-EP-004-ES-S 005 Quotation Price</vt:lpstr>
      <vt:lpstr>Story ID: EF-EP-004-ES-S 005 Quotation Price</vt:lpstr>
      <vt:lpstr>Story ID: EF-EP-004-ES-S 005 Quotation Price</vt:lpstr>
      <vt:lpstr>Story ID: EF-EP-004-ES-S 005 Quotation Price</vt:lpstr>
      <vt:lpstr>Story ID: EF-EP-004-ES-S 006: LBS Dealership selection </vt:lpstr>
      <vt:lpstr>Story ID: EF-EP-004-ES-S 006 LBS Dealership selection </vt:lpstr>
      <vt:lpstr>Story ID: EF-EP-004-ES-S 006 LBS Dealership selection </vt:lpstr>
      <vt:lpstr>Story ID: EF-EP-004-ES-S 006 LBS Dealership selection </vt:lpstr>
      <vt:lpstr>Story ID: EF-EP-004-ES-S 006 LBS Dealership selection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229</cp:revision>
  <dcterms:created xsi:type="dcterms:W3CDTF">2017-04-27T07:24:45Z</dcterms:created>
  <dcterms:modified xsi:type="dcterms:W3CDTF">2018-10-31T10:55:30Z</dcterms:modified>
</cp:coreProperties>
</file>